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96" d="100"/>
          <a:sy n="96" d="100"/>
        </p:scale>
        <p:origin x="36"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custT="1"/>
      <dgm:spPr/>
      <dgm:t>
        <a:bodyPr/>
        <a:lstStyle/>
        <a:p>
          <a:pPr>
            <a:buNone/>
          </a:pPr>
          <a:r>
            <a:rPr lang="en-US" sz="2400"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custT="1"/>
      <dgm:spPr/>
      <dgm:t>
        <a:bodyPr/>
        <a:lstStyle/>
        <a:p>
          <a:pPr>
            <a:buNone/>
          </a:pPr>
          <a:r>
            <a:rPr lang="en-US" sz="2400"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custScaleX="76239">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custScaleX="76239">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custScaleX="76239">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custScaleX="76239">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custScaleX="76239">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custScaleX="76239">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custScaleX="76239">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367470" y="-3475494"/>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3816697" y="104495"/>
        <a:ext cx="7670826" cy="540064"/>
      </dsp:txXfrm>
    </dsp:sp>
    <dsp:sp modelId="{A5438C1E-89FB-411C-9EAB-7842FD136D3A}">
      <dsp:nvSpPr>
        <dsp:cNvPr id="0" name=""/>
        <dsp:cNvSpPr/>
      </dsp:nvSpPr>
      <dsp:spPr>
        <a:xfrm>
          <a:off x="514577" y="466"/>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1</a:t>
          </a:r>
        </a:p>
      </dsp:txBody>
      <dsp:txXfrm>
        <a:off x="551097" y="36986"/>
        <a:ext cx="3229080" cy="675080"/>
      </dsp:txXfrm>
    </dsp:sp>
    <dsp:sp modelId="{E6420154-04FB-467D-88B8-1F7D05114D7E}">
      <dsp:nvSpPr>
        <dsp:cNvPr id="0" name=""/>
        <dsp:cNvSpPr/>
      </dsp:nvSpPr>
      <dsp:spPr>
        <a:xfrm rot="5400000">
          <a:off x="7367470" y="-268996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3816697" y="890022"/>
        <a:ext cx="7670826" cy="540064"/>
      </dsp:txXfrm>
    </dsp:sp>
    <dsp:sp modelId="{F8539A12-2D82-4C88-98C3-1B1E242F4079}">
      <dsp:nvSpPr>
        <dsp:cNvPr id="0" name=""/>
        <dsp:cNvSpPr/>
      </dsp:nvSpPr>
      <dsp:spPr>
        <a:xfrm>
          <a:off x="514577" y="78599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2</a:t>
          </a:r>
        </a:p>
      </dsp:txBody>
      <dsp:txXfrm>
        <a:off x="551097" y="822513"/>
        <a:ext cx="3229080" cy="675080"/>
      </dsp:txXfrm>
    </dsp:sp>
    <dsp:sp modelId="{61247A71-DC9E-4A76-B169-395D763BB202}">
      <dsp:nvSpPr>
        <dsp:cNvPr id="0" name=""/>
        <dsp:cNvSpPr/>
      </dsp:nvSpPr>
      <dsp:spPr>
        <a:xfrm rot="5400000">
          <a:off x="7367470" y="-1904440"/>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3816697" y="1675549"/>
        <a:ext cx="7670826" cy="540064"/>
      </dsp:txXfrm>
    </dsp:sp>
    <dsp:sp modelId="{1D40B9DC-3DB8-4751-BFF0-8DBEF83FF13C}">
      <dsp:nvSpPr>
        <dsp:cNvPr id="0" name=""/>
        <dsp:cNvSpPr/>
      </dsp:nvSpPr>
      <dsp:spPr>
        <a:xfrm>
          <a:off x="514577" y="157152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3</a:t>
          </a:r>
        </a:p>
      </dsp:txBody>
      <dsp:txXfrm>
        <a:off x="551097" y="1608040"/>
        <a:ext cx="3229080" cy="675080"/>
      </dsp:txXfrm>
    </dsp:sp>
    <dsp:sp modelId="{735907E8-CD71-421F-8950-285DC6511AD6}">
      <dsp:nvSpPr>
        <dsp:cNvPr id="0" name=""/>
        <dsp:cNvSpPr/>
      </dsp:nvSpPr>
      <dsp:spPr>
        <a:xfrm rot="5400000">
          <a:off x="7367470" y="-1118913"/>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3816697" y="2461076"/>
        <a:ext cx="7670826" cy="540064"/>
      </dsp:txXfrm>
    </dsp:sp>
    <dsp:sp modelId="{03632F8B-4E93-4840-9E4E-68F53BBC5873}">
      <dsp:nvSpPr>
        <dsp:cNvPr id="0" name=""/>
        <dsp:cNvSpPr/>
      </dsp:nvSpPr>
      <dsp:spPr>
        <a:xfrm>
          <a:off x="514577" y="235704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4</a:t>
          </a:r>
        </a:p>
      </dsp:txBody>
      <dsp:txXfrm>
        <a:off x="551097" y="2393567"/>
        <a:ext cx="3229080" cy="675080"/>
      </dsp:txXfrm>
    </dsp:sp>
    <dsp:sp modelId="{4F53A1C7-4C5E-467C-93C1-9040792E7E19}">
      <dsp:nvSpPr>
        <dsp:cNvPr id="0" name=""/>
        <dsp:cNvSpPr/>
      </dsp:nvSpPr>
      <dsp:spPr>
        <a:xfrm rot="5400000">
          <a:off x="7367470" y="-33338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3816697" y="3246602"/>
        <a:ext cx="7670826" cy="540064"/>
      </dsp:txXfrm>
    </dsp:sp>
    <dsp:sp modelId="{7F905116-DF52-47DE-BE38-A75756ACB8D6}">
      <dsp:nvSpPr>
        <dsp:cNvPr id="0" name=""/>
        <dsp:cNvSpPr/>
      </dsp:nvSpPr>
      <dsp:spPr>
        <a:xfrm>
          <a:off x="514577" y="314257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5</a:t>
          </a:r>
        </a:p>
      </dsp:txBody>
      <dsp:txXfrm>
        <a:off x="551097" y="3179093"/>
        <a:ext cx="3229080" cy="675080"/>
      </dsp:txXfrm>
    </dsp:sp>
    <dsp:sp modelId="{68B4BBEF-B3B9-44EE-93CE-818230DA2604}">
      <dsp:nvSpPr>
        <dsp:cNvPr id="0" name=""/>
        <dsp:cNvSpPr/>
      </dsp:nvSpPr>
      <dsp:spPr>
        <a:xfrm rot="5400000">
          <a:off x="7367470" y="452139"/>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ntroduction to Docker and Azure container service</a:t>
          </a:r>
        </a:p>
      </dsp:txBody>
      <dsp:txXfrm rot="-5400000">
        <a:off x="3816697" y="4032128"/>
        <a:ext cx="7670826" cy="540064"/>
      </dsp:txXfrm>
    </dsp:sp>
    <dsp:sp modelId="{291529A3-D216-4DC4-835B-3321FFD0318C}">
      <dsp:nvSpPr>
        <dsp:cNvPr id="0" name=""/>
        <dsp:cNvSpPr/>
      </dsp:nvSpPr>
      <dsp:spPr>
        <a:xfrm>
          <a:off x="514577" y="392810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6</a:t>
          </a:r>
        </a:p>
      </dsp:txBody>
      <dsp:txXfrm>
        <a:off x="551097" y="3964620"/>
        <a:ext cx="3229080" cy="675080"/>
      </dsp:txXfrm>
    </dsp:sp>
    <dsp:sp modelId="{12B67329-6C74-4CE3-AA42-7F4F34AD07BC}">
      <dsp:nvSpPr>
        <dsp:cNvPr id="0" name=""/>
        <dsp:cNvSpPr/>
      </dsp:nvSpPr>
      <dsp:spPr>
        <a:xfrm rot="5400000">
          <a:off x="7367470" y="1237666"/>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3816697" y="4817655"/>
        <a:ext cx="7670826" cy="540064"/>
      </dsp:txXfrm>
    </dsp:sp>
    <dsp:sp modelId="{F1C64B8A-0378-48EC-9D61-9DDE57011B84}">
      <dsp:nvSpPr>
        <dsp:cNvPr id="0" name=""/>
        <dsp:cNvSpPr/>
      </dsp:nvSpPr>
      <dsp:spPr>
        <a:xfrm>
          <a:off x="514577" y="471362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7</a:t>
          </a:r>
        </a:p>
      </dsp:txBody>
      <dsp:txXfrm>
        <a:off x="551097" y="4750147"/>
        <a:ext cx="3229080" cy="67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55304" y="-3818196"/>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49068" y="121841"/>
        <a:ext cx="8471093" cy="624819"/>
      </dsp:txXfrm>
    </dsp:sp>
    <dsp:sp modelId="{A5438C1E-89FB-411C-9EAB-7842FD136D3A}">
      <dsp:nvSpPr>
        <dsp:cNvPr id="0" name=""/>
        <dsp:cNvSpPr/>
      </dsp:nvSpPr>
      <dsp:spPr>
        <a:xfrm>
          <a:off x="89454" y="16399"/>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1</a:t>
          </a:r>
        </a:p>
      </dsp:txBody>
      <dsp:txXfrm>
        <a:off x="131706" y="58651"/>
        <a:ext cx="2775109" cy="781023"/>
      </dsp:txXfrm>
    </dsp:sp>
    <dsp:sp modelId="{E6420154-04FB-467D-88B8-1F7D05114D7E}">
      <dsp:nvSpPr>
        <dsp:cNvPr id="0" name=""/>
        <dsp:cNvSpPr/>
      </dsp:nvSpPr>
      <dsp:spPr>
        <a:xfrm rot="5400000">
          <a:off x="6855304" y="-2909393"/>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49068" y="1030644"/>
        <a:ext cx="8471093" cy="624819"/>
      </dsp:txXfrm>
    </dsp:sp>
    <dsp:sp modelId="{F8539A12-2D82-4C88-98C3-1B1E242F4079}">
      <dsp:nvSpPr>
        <dsp:cNvPr id="0" name=""/>
        <dsp:cNvSpPr/>
      </dsp:nvSpPr>
      <dsp:spPr>
        <a:xfrm>
          <a:off x="89454" y="925203"/>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2</a:t>
          </a:r>
        </a:p>
      </dsp:txBody>
      <dsp:txXfrm>
        <a:off x="131706" y="967455"/>
        <a:ext cx="2775109" cy="781023"/>
      </dsp:txXfrm>
    </dsp:sp>
    <dsp:sp modelId="{61247A71-DC9E-4A76-B169-395D763BB202}">
      <dsp:nvSpPr>
        <dsp:cNvPr id="0" name=""/>
        <dsp:cNvSpPr/>
      </dsp:nvSpPr>
      <dsp:spPr>
        <a:xfrm rot="5400000">
          <a:off x="6855304" y="-2000589"/>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49068" y="1939448"/>
        <a:ext cx="8471093" cy="624819"/>
      </dsp:txXfrm>
    </dsp:sp>
    <dsp:sp modelId="{1D40B9DC-3DB8-4751-BFF0-8DBEF83FF13C}">
      <dsp:nvSpPr>
        <dsp:cNvPr id="0" name=""/>
        <dsp:cNvSpPr/>
      </dsp:nvSpPr>
      <dsp:spPr>
        <a:xfrm>
          <a:off x="89454" y="1834007"/>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3</a:t>
          </a:r>
        </a:p>
      </dsp:txBody>
      <dsp:txXfrm>
        <a:off x="131706" y="1876259"/>
        <a:ext cx="2775109" cy="781023"/>
      </dsp:txXfrm>
    </dsp:sp>
    <dsp:sp modelId="{735907E8-CD71-421F-8950-285DC6511AD6}">
      <dsp:nvSpPr>
        <dsp:cNvPr id="0" name=""/>
        <dsp:cNvSpPr/>
      </dsp:nvSpPr>
      <dsp:spPr>
        <a:xfrm rot="5400000">
          <a:off x="6855304" y="-1091785"/>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49068" y="2848252"/>
        <a:ext cx="8471093" cy="624819"/>
      </dsp:txXfrm>
    </dsp:sp>
    <dsp:sp modelId="{03632F8B-4E93-4840-9E4E-68F53BBC5873}">
      <dsp:nvSpPr>
        <dsp:cNvPr id="0" name=""/>
        <dsp:cNvSpPr/>
      </dsp:nvSpPr>
      <dsp:spPr>
        <a:xfrm>
          <a:off x="89454" y="2742810"/>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4</a:t>
          </a:r>
        </a:p>
      </dsp:txBody>
      <dsp:txXfrm>
        <a:off x="131706" y="2785062"/>
        <a:ext cx="2775109" cy="781023"/>
      </dsp:txXfrm>
    </dsp:sp>
    <dsp:sp modelId="{4F53A1C7-4C5E-467C-93C1-9040792E7E19}">
      <dsp:nvSpPr>
        <dsp:cNvPr id="0" name=""/>
        <dsp:cNvSpPr/>
      </dsp:nvSpPr>
      <dsp:spPr>
        <a:xfrm rot="5400000">
          <a:off x="6855304" y="-182982"/>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49068" y="3757055"/>
        <a:ext cx="8471093" cy="624819"/>
      </dsp:txXfrm>
    </dsp:sp>
    <dsp:sp modelId="{7F905116-DF52-47DE-BE38-A75756ACB8D6}">
      <dsp:nvSpPr>
        <dsp:cNvPr id="0" name=""/>
        <dsp:cNvSpPr/>
      </dsp:nvSpPr>
      <dsp:spPr>
        <a:xfrm>
          <a:off x="89454" y="3651614"/>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5</a:t>
          </a:r>
        </a:p>
      </dsp:txBody>
      <dsp:txXfrm>
        <a:off x="131706" y="3693866"/>
        <a:ext cx="2775109" cy="781023"/>
      </dsp:txXfrm>
    </dsp:sp>
    <dsp:sp modelId="{221D5F81-3BC4-4811-940D-8B1BBEDB27DE}">
      <dsp:nvSpPr>
        <dsp:cNvPr id="0" name=""/>
        <dsp:cNvSpPr/>
      </dsp:nvSpPr>
      <dsp:spPr>
        <a:xfrm rot="5400000">
          <a:off x="6855304" y="725821"/>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49068" y="4665859"/>
        <a:ext cx="8471093" cy="624819"/>
      </dsp:txXfrm>
    </dsp:sp>
    <dsp:sp modelId="{855CB823-9B0A-44F5-93DF-71A72EAFEDC3}">
      <dsp:nvSpPr>
        <dsp:cNvPr id="0" name=""/>
        <dsp:cNvSpPr/>
      </dsp:nvSpPr>
      <dsp:spPr>
        <a:xfrm>
          <a:off x="89454" y="4545505"/>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6</a:t>
          </a:r>
        </a:p>
      </dsp:txBody>
      <dsp:txXfrm>
        <a:off x="131706" y="4587757"/>
        <a:ext cx="2775109" cy="7810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762419" y="-423202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84316" y="62867"/>
        <a:ext cx="8883277" cy="310285"/>
      </dsp:txXfrm>
    </dsp:sp>
    <dsp:sp modelId="{A5438C1E-89FB-411C-9EAB-7842FD136D3A}">
      <dsp:nvSpPr>
        <dsp:cNvPr id="0" name=""/>
        <dsp:cNvSpPr/>
      </dsp:nvSpPr>
      <dsp:spPr>
        <a:xfrm>
          <a:off x="271459" y="309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92441" y="24080"/>
        <a:ext cx="2170892" cy="387858"/>
      </dsp:txXfrm>
    </dsp:sp>
    <dsp:sp modelId="{0F76540A-83A1-43AF-A915-E9CCF31AD761}">
      <dsp:nvSpPr>
        <dsp:cNvPr id="0" name=""/>
        <dsp:cNvSpPr/>
      </dsp:nvSpPr>
      <dsp:spPr>
        <a:xfrm rot="5400000">
          <a:off x="6762419" y="-378070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84316" y="514181"/>
        <a:ext cx="8883277" cy="310285"/>
      </dsp:txXfrm>
    </dsp:sp>
    <dsp:sp modelId="{8FF1422C-FB3D-4E40-B9AA-2876EA0039EA}">
      <dsp:nvSpPr>
        <dsp:cNvPr id="0" name=""/>
        <dsp:cNvSpPr/>
      </dsp:nvSpPr>
      <dsp:spPr>
        <a:xfrm>
          <a:off x="271459" y="454411"/>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92441" y="475393"/>
        <a:ext cx="2170892" cy="387858"/>
      </dsp:txXfrm>
    </dsp:sp>
    <dsp:sp modelId="{45F3B3F6-2CED-45D8-B6E2-0409440DA4C3}">
      <dsp:nvSpPr>
        <dsp:cNvPr id="0" name=""/>
        <dsp:cNvSpPr/>
      </dsp:nvSpPr>
      <dsp:spPr>
        <a:xfrm rot="5400000">
          <a:off x="6762419" y="-332939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84316" y="965494"/>
        <a:ext cx="8883277" cy="310285"/>
      </dsp:txXfrm>
    </dsp:sp>
    <dsp:sp modelId="{4F72D66B-A8F6-4DB6-8FBA-070AAE1CF9EE}">
      <dsp:nvSpPr>
        <dsp:cNvPr id="0" name=""/>
        <dsp:cNvSpPr/>
      </dsp:nvSpPr>
      <dsp:spPr>
        <a:xfrm>
          <a:off x="271459" y="90572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92441" y="926707"/>
        <a:ext cx="2170892" cy="387858"/>
      </dsp:txXfrm>
    </dsp:sp>
    <dsp:sp modelId="{E12892D9-F98F-4E4E-B9C8-0D972EE87560}">
      <dsp:nvSpPr>
        <dsp:cNvPr id="0" name=""/>
        <dsp:cNvSpPr/>
      </dsp:nvSpPr>
      <dsp:spPr>
        <a:xfrm rot="5400000">
          <a:off x="6762419" y="-287808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1416808"/>
        <a:ext cx="8883277" cy="310285"/>
      </dsp:txXfrm>
    </dsp:sp>
    <dsp:sp modelId="{71590097-DEB6-41CE-BD82-632DBACBA39B}">
      <dsp:nvSpPr>
        <dsp:cNvPr id="0" name=""/>
        <dsp:cNvSpPr/>
      </dsp:nvSpPr>
      <dsp:spPr>
        <a:xfrm>
          <a:off x="271459" y="135703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92441" y="1378020"/>
        <a:ext cx="2170892" cy="387858"/>
      </dsp:txXfrm>
    </dsp:sp>
    <dsp:sp modelId="{E27862F7-10C7-472B-87FB-B72257CD730B}">
      <dsp:nvSpPr>
        <dsp:cNvPr id="0" name=""/>
        <dsp:cNvSpPr/>
      </dsp:nvSpPr>
      <dsp:spPr>
        <a:xfrm rot="5400000">
          <a:off x="6762419" y="-242676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84316" y="1868121"/>
        <a:ext cx="8883277" cy="310285"/>
      </dsp:txXfrm>
    </dsp:sp>
    <dsp:sp modelId="{350959BE-A20B-4B1B-9A79-239BC65E6964}">
      <dsp:nvSpPr>
        <dsp:cNvPr id="0" name=""/>
        <dsp:cNvSpPr/>
      </dsp:nvSpPr>
      <dsp:spPr>
        <a:xfrm>
          <a:off x="271459" y="180835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92441" y="1829334"/>
        <a:ext cx="2170892" cy="387858"/>
      </dsp:txXfrm>
    </dsp:sp>
    <dsp:sp modelId="{B61D215C-99BF-4A69-A71B-1F574E932348}">
      <dsp:nvSpPr>
        <dsp:cNvPr id="0" name=""/>
        <dsp:cNvSpPr/>
      </dsp:nvSpPr>
      <dsp:spPr>
        <a:xfrm rot="5400000">
          <a:off x="6762419" y="-197545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84316" y="2319434"/>
        <a:ext cx="8883277" cy="310285"/>
      </dsp:txXfrm>
    </dsp:sp>
    <dsp:sp modelId="{9BE55685-5B91-4ED0-A3F3-E0AFDD677C54}">
      <dsp:nvSpPr>
        <dsp:cNvPr id="0" name=""/>
        <dsp:cNvSpPr/>
      </dsp:nvSpPr>
      <dsp:spPr>
        <a:xfrm>
          <a:off x="271459" y="225966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92441" y="2280647"/>
        <a:ext cx="2170892" cy="387858"/>
      </dsp:txXfrm>
    </dsp:sp>
    <dsp:sp modelId="{400F7EFE-C693-404B-97E3-2D2B46DCED50}">
      <dsp:nvSpPr>
        <dsp:cNvPr id="0" name=""/>
        <dsp:cNvSpPr/>
      </dsp:nvSpPr>
      <dsp:spPr>
        <a:xfrm rot="5400000">
          <a:off x="6762419" y="-152414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84316" y="2770748"/>
        <a:ext cx="8883277" cy="310285"/>
      </dsp:txXfrm>
    </dsp:sp>
    <dsp:sp modelId="{A22C4155-616D-4F4C-A223-723BEA428ED7}">
      <dsp:nvSpPr>
        <dsp:cNvPr id="0" name=""/>
        <dsp:cNvSpPr/>
      </dsp:nvSpPr>
      <dsp:spPr>
        <a:xfrm>
          <a:off x="271459" y="271097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92441" y="2731961"/>
        <a:ext cx="2170892" cy="387858"/>
      </dsp:txXfrm>
    </dsp:sp>
    <dsp:sp modelId="{D43E34EF-5CE0-465E-BECF-EAD8EAC9838E}">
      <dsp:nvSpPr>
        <dsp:cNvPr id="0" name=""/>
        <dsp:cNvSpPr/>
      </dsp:nvSpPr>
      <dsp:spPr>
        <a:xfrm rot="5400000">
          <a:off x="6762419" y="-107282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84316" y="3222061"/>
        <a:ext cx="8883277" cy="310285"/>
      </dsp:txXfrm>
    </dsp:sp>
    <dsp:sp modelId="{FBCD6E4D-02F9-4B96-B891-81E6D680DC0C}">
      <dsp:nvSpPr>
        <dsp:cNvPr id="0" name=""/>
        <dsp:cNvSpPr/>
      </dsp:nvSpPr>
      <dsp:spPr>
        <a:xfrm>
          <a:off x="271459" y="316229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92441" y="3183274"/>
        <a:ext cx="2170892" cy="387858"/>
      </dsp:txXfrm>
    </dsp:sp>
    <dsp:sp modelId="{FC331AB9-0D83-4CC7-9D27-73A841AB883D}">
      <dsp:nvSpPr>
        <dsp:cNvPr id="0" name=""/>
        <dsp:cNvSpPr/>
      </dsp:nvSpPr>
      <dsp:spPr>
        <a:xfrm rot="5400000">
          <a:off x="6762419" y="-621514"/>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3673375"/>
        <a:ext cx="8883277" cy="310285"/>
      </dsp:txXfrm>
    </dsp:sp>
    <dsp:sp modelId="{0EF06FAD-3524-4BD1-B078-697A8FAE965D}">
      <dsp:nvSpPr>
        <dsp:cNvPr id="0" name=""/>
        <dsp:cNvSpPr/>
      </dsp:nvSpPr>
      <dsp:spPr>
        <a:xfrm>
          <a:off x="271459" y="361360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92441" y="3634587"/>
        <a:ext cx="2170892" cy="387858"/>
      </dsp:txXfrm>
    </dsp:sp>
    <dsp:sp modelId="{80AC146E-A9F7-4B60-B06C-7F0E6092BDB4}">
      <dsp:nvSpPr>
        <dsp:cNvPr id="0" name=""/>
        <dsp:cNvSpPr/>
      </dsp:nvSpPr>
      <dsp:spPr>
        <a:xfrm rot="5400000">
          <a:off x="6762419" y="-17020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84316" y="4124688"/>
        <a:ext cx="8883277" cy="310285"/>
      </dsp:txXfrm>
    </dsp:sp>
    <dsp:sp modelId="{B33B9E8A-E9A9-4A69-9E54-CDC82E49B1FD}">
      <dsp:nvSpPr>
        <dsp:cNvPr id="0" name=""/>
        <dsp:cNvSpPr/>
      </dsp:nvSpPr>
      <dsp:spPr>
        <a:xfrm>
          <a:off x="271459" y="406491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92441" y="4085901"/>
        <a:ext cx="2170892" cy="387858"/>
      </dsp:txXfrm>
    </dsp:sp>
    <dsp:sp modelId="{34CC8437-3B2F-4B76-B5DF-2EE06EE97321}">
      <dsp:nvSpPr>
        <dsp:cNvPr id="0" name=""/>
        <dsp:cNvSpPr/>
      </dsp:nvSpPr>
      <dsp:spPr>
        <a:xfrm rot="5400000">
          <a:off x="6762419" y="28111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84316" y="4576001"/>
        <a:ext cx="8883277" cy="310285"/>
      </dsp:txXfrm>
    </dsp:sp>
    <dsp:sp modelId="{BA362265-BFC7-4AAA-9A72-FAE87330D06A}">
      <dsp:nvSpPr>
        <dsp:cNvPr id="0" name=""/>
        <dsp:cNvSpPr/>
      </dsp:nvSpPr>
      <dsp:spPr>
        <a:xfrm>
          <a:off x="271459" y="451623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92441" y="4537214"/>
        <a:ext cx="2170892" cy="387858"/>
      </dsp:txXfrm>
    </dsp:sp>
    <dsp:sp modelId="{156A4FBD-5C59-4C21-B9DB-EA5715FD3136}">
      <dsp:nvSpPr>
        <dsp:cNvPr id="0" name=""/>
        <dsp:cNvSpPr/>
      </dsp:nvSpPr>
      <dsp:spPr>
        <a:xfrm rot="5400000">
          <a:off x="6762419" y="73242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84316" y="5027314"/>
        <a:ext cx="8883277" cy="310285"/>
      </dsp:txXfrm>
    </dsp:sp>
    <dsp:sp modelId="{4402A6D0-E73F-47D7-AFAB-86D03A52490D}">
      <dsp:nvSpPr>
        <dsp:cNvPr id="0" name=""/>
        <dsp:cNvSpPr/>
      </dsp:nvSpPr>
      <dsp:spPr>
        <a:xfrm>
          <a:off x="271459" y="4967546"/>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92441" y="4988528"/>
        <a:ext cx="2170892" cy="387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675196" y="-417420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59454" y="57132"/>
        <a:ext cx="8735420" cy="288337"/>
      </dsp:txXfrm>
    </dsp:sp>
    <dsp:sp modelId="{EC1EB1B5-90A7-493B-AD9C-BA31EA560306}">
      <dsp:nvSpPr>
        <dsp:cNvPr id="0" name=""/>
        <dsp:cNvSpPr/>
      </dsp:nvSpPr>
      <dsp:spPr>
        <a:xfrm>
          <a:off x="445367" y="1592"/>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64865" y="21090"/>
        <a:ext cx="1975091" cy="360420"/>
      </dsp:txXfrm>
    </dsp:sp>
    <dsp:sp modelId="{98997997-98D1-4045-81E0-9243CD594E5D}">
      <dsp:nvSpPr>
        <dsp:cNvPr id="0" name=""/>
        <dsp:cNvSpPr/>
      </dsp:nvSpPr>
      <dsp:spPr>
        <a:xfrm rot="5400000">
          <a:off x="6675196" y="-3754820"/>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59454" y="476520"/>
        <a:ext cx="8735420" cy="288337"/>
      </dsp:txXfrm>
    </dsp:sp>
    <dsp:sp modelId="{BE3EDFDA-3F7A-4C2E-8E05-24C88FC3829B}">
      <dsp:nvSpPr>
        <dsp:cNvPr id="0" name=""/>
        <dsp:cNvSpPr/>
      </dsp:nvSpPr>
      <dsp:spPr>
        <a:xfrm>
          <a:off x="445367" y="42098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64865" y="440478"/>
        <a:ext cx="1975091" cy="360420"/>
      </dsp:txXfrm>
    </dsp:sp>
    <dsp:sp modelId="{54F29C5A-0C6D-4587-87C8-30905D844F15}">
      <dsp:nvSpPr>
        <dsp:cNvPr id="0" name=""/>
        <dsp:cNvSpPr/>
      </dsp:nvSpPr>
      <dsp:spPr>
        <a:xfrm rot="5400000">
          <a:off x="6675196" y="-333543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895908"/>
        <a:ext cx="8735420" cy="288337"/>
      </dsp:txXfrm>
    </dsp:sp>
    <dsp:sp modelId="{7F2A1588-C4A7-4418-8F86-D615469ACC8F}">
      <dsp:nvSpPr>
        <dsp:cNvPr id="0" name=""/>
        <dsp:cNvSpPr/>
      </dsp:nvSpPr>
      <dsp:spPr>
        <a:xfrm>
          <a:off x="445367" y="84036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64865" y="859865"/>
        <a:ext cx="1975091" cy="360420"/>
      </dsp:txXfrm>
    </dsp:sp>
    <dsp:sp modelId="{305D479E-3E82-4E40-8591-7920046044CA}">
      <dsp:nvSpPr>
        <dsp:cNvPr id="0" name=""/>
        <dsp:cNvSpPr/>
      </dsp:nvSpPr>
      <dsp:spPr>
        <a:xfrm rot="5400000">
          <a:off x="6675196" y="-2916045"/>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a:t>
          </a:r>
          <a:endParaRPr lang="en-US" sz="2400" kern="1200" dirty="0"/>
        </a:p>
      </dsp:txBody>
      <dsp:txXfrm rot="-5400000">
        <a:off x="2459454" y="1315295"/>
        <a:ext cx="8735420" cy="288337"/>
      </dsp:txXfrm>
    </dsp:sp>
    <dsp:sp modelId="{A95FCAC1-A86A-49E6-93F3-35518D1CB588}">
      <dsp:nvSpPr>
        <dsp:cNvPr id="0" name=""/>
        <dsp:cNvSpPr/>
      </dsp:nvSpPr>
      <dsp:spPr>
        <a:xfrm>
          <a:off x="445367" y="1259755"/>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64865" y="1279253"/>
        <a:ext cx="1975091" cy="360420"/>
      </dsp:txXfrm>
    </dsp:sp>
    <dsp:sp modelId="{7D841E58-123D-4354-A16F-013633AFBD3A}">
      <dsp:nvSpPr>
        <dsp:cNvPr id="0" name=""/>
        <dsp:cNvSpPr/>
      </dsp:nvSpPr>
      <dsp:spPr>
        <a:xfrm rot="5400000">
          <a:off x="6675196" y="-2496657"/>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59454" y="1734683"/>
        <a:ext cx="8735420" cy="288337"/>
      </dsp:txXfrm>
    </dsp:sp>
    <dsp:sp modelId="{9315BC47-31EE-4CB8-8DAE-86843AE51B70}">
      <dsp:nvSpPr>
        <dsp:cNvPr id="0" name=""/>
        <dsp:cNvSpPr/>
      </dsp:nvSpPr>
      <dsp:spPr>
        <a:xfrm>
          <a:off x="445367" y="167914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64865" y="1698641"/>
        <a:ext cx="1975091" cy="360420"/>
      </dsp:txXfrm>
    </dsp:sp>
    <dsp:sp modelId="{3924DC22-42FB-4A35-90F3-3F70DC1B413B}">
      <dsp:nvSpPr>
        <dsp:cNvPr id="0" name=""/>
        <dsp:cNvSpPr/>
      </dsp:nvSpPr>
      <dsp:spPr>
        <a:xfrm rot="5400000">
          <a:off x="6675196" y="-2077269"/>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59454" y="2154071"/>
        <a:ext cx="8735420" cy="288337"/>
      </dsp:txXfrm>
    </dsp:sp>
    <dsp:sp modelId="{9AA9F4C6-7CDE-4287-AB42-7935505FC6A7}">
      <dsp:nvSpPr>
        <dsp:cNvPr id="0" name=""/>
        <dsp:cNvSpPr/>
      </dsp:nvSpPr>
      <dsp:spPr>
        <a:xfrm>
          <a:off x="445367" y="209853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64865" y="2118028"/>
        <a:ext cx="1975091" cy="360420"/>
      </dsp:txXfrm>
    </dsp:sp>
    <dsp:sp modelId="{A98CB637-414B-4235-9322-CDB9B3AB4396}">
      <dsp:nvSpPr>
        <dsp:cNvPr id="0" name=""/>
        <dsp:cNvSpPr/>
      </dsp:nvSpPr>
      <dsp:spPr>
        <a:xfrm rot="5400000">
          <a:off x="6675196" y="-165788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59454" y="2573458"/>
        <a:ext cx="8735420" cy="288337"/>
      </dsp:txXfrm>
    </dsp:sp>
    <dsp:sp modelId="{050F393B-63AE-4969-8E65-7A35A5A012B7}">
      <dsp:nvSpPr>
        <dsp:cNvPr id="0" name=""/>
        <dsp:cNvSpPr/>
      </dsp:nvSpPr>
      <dsp:spPr>
        <a:xfrm>
          <a:off x="445367" y="2517918"/>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64865" y="2537416"/>
        <a:ext cx="1975091" cy="360420"/>
      </dsp:txXfrm>
    </dsp:sp>
    <dsp:sp modelId="{834F7C11-0897-40E6-B2BA-5A8F6FE36D85}">
      <dsp:nvSpPr>
        <dsp:cNvPr id="0" name=""/>
        <dsp:cNvSpPr/>
      </dsp:nvSpPr>
      <dsp:spPr>
        <a:xfrm rot="5400000">
          <a:off x="6675196" y="-123849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2992846"/>
        <a:ext cx="8735420" cy="288337"/>
      </dsp:txXfrm>
    </dsp:sp>
    <dsp:sp modelId="{5201838D-804B-4A34-8E4A-7EC6008DE4E7}">
      <dsp:nvSpPr>
        <dsp:cNvPr id="0" name=""/>
        <dsp:cNvSpPr/>
      </dsp:nvSpPr>
      <dsp:spPr>
        <a:xfrm>
          <a:off x="445367" y="2937306"/>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64865" y="2956804"/>
        <a:ext cx="1975091" cy="360420"/>
      </dsp:txXfrm>
    </dsp:sp>
    <dsp:sp modelId="{5A1F3ACD-366F-49BC-8AFF-1280C8CECD08}">
      <dsp:nvSpPr>
        <dsp:cNvPr id="0" name=""/>
        <dsp:cNvSpPr/>
      </dsp:nvSpPr>
      <dsp:spPr>
        <a:xfrm rot="5400000">
          <a:off x="6675196" y="-81910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59454" y="3412234"/>
        <a:ext cx="8735420" cy="288337"/>
      </dsp:txXfrm>
    </dsp:sp>
    <dsp:sp modelId="{96A5357F-26FB-46B9-AC76-401E637DCA6D}">
      <dsp:nvSpPr>
        <dsp:cNvPr id="0" name=""/>
        <dsp:cNvSpPr/>
      </dsp:nvSpPr>
      <dsp:spPr>
        <a:xfrm>
          <a:off x="445367" y="335669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64865" y="3376191"/>
        <a:ext cx="1975091" cy="360420"/>
      </dsp:txXfrm>
    </dsp:sp>
    <dsp:sp modelId="{5C094C1F-0A4B-4924-94B4-9EF233FD65DC}">
      <dsp:nvSpPr>
        <dsp:cNvPr id="0" name=""/>
        <dsp:cNvSpPr/>
      </dsp:nvSpPr>
      <dsp:spPr>
        <a:xfrm rot="5400000">
          <a:off x="6675196" y="-39971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59454" y="3831622"/>
        <a:ext cx="8735420" cy="288337"/>
      </dsp:txXfrm>
    </dsp:sp>
    <dsp:sp modelId="{7D920196-9617-466A-B09A-F7961BB9A172}">
      <dsp:nvSpPr>
        <dsp:cNvPr id="0" name=""/>
        <dsp:cNvSpPr/>
      </dsp:nvSpPr>
      <dsp:spPr>
        <a:xfrm>
          <a:off x="445367" y="3776081"/>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64865" y="3795579"/>
        <a:ext cx="1975091" cy="360420"/>
      </dsp:txXfrm>
    </dsp:sp>
    <dsp:sp modelId="{CE892AC9-582D-4780-B830-4A06AD9AC9FF}">
      <dsp:nvSpPr>
        <dsp:cNvPr id="0" name=""/>
        <dsp:cNvSpPr/>
      </dsp:nvSpPr>
      <dsp:spPr>
        <a:xfrm rot="5400000">
          <a:off x="6675196" y="1966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59454" y="4251008"/>
        <a:ext cx="8735420" cy="288337"/>
      </dsp:txXfrm>
    </dsp:sp>
    <dsp:sp modelId="{E6A402E3-81A1-4561-9072-A0080B31C16A}">
      <dsp:nvSpPr>
        <dsp:cNvPr id="0" name=""/>
        <dsp:cNvSpPr/>
      </dsp:nvSpPr>
      <dsp:spPr>
        <a:xfrm>
          <a:off x="445367" y="4195469"/>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64865" y="4214967"/>
        <a:ext cx="1975091" cy="360420"/>
      </dsp:txXfrm>
    </dsp:sp>
    <dsp:sp modelId="{FCB53D80-E3FD-45BF-855B-E7A58B60BB41}">
      <dsp:nvSpPr>
        <dsp:cNvPr id="0" name=""/>
        <dsp:cNvSpPr/>
      </dsp:nvSpPr>
      <dsp:spPr>
        <a:xfrm rot="5400000">
          <a:off x="6675196" y="43905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59454" y="4670396"/>
        <a:ext cx="8735420" cy="288337"/>
      </dsp:txXfrm>
    </dsp:sp>
    <dsp:sp modelId="{5660565C-EDD2-4E3A-BD08-26E1F89DE188}">
      <dsp:nvSpPr>
        <dsp:cNvPr id="0" name=""/>
        <dsp:cNvSpPr/>
      </dsp:nvSpPr>
      <dsp:spPr>
        <a:xfrm>
          <a:off x="445367" y="461485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64865" y="4634355"/>
        <a:ext cx="1975091" cy="360420"/>
      </dsp:txXfrm>
    </dsp:sp>
    <dsp:sp modelId="{4558F624-6BD5-47FA-B89F-E5E27FECD9A2}">
      <dsp:nvSpPr>
        <dsp:cNvPr id="0" name=""/>
        <dsp:cNvSpPr/>
      </dsp:nvSpPr>
      <dsp:spPr>
        <a:xfrm rot="5400000">
          <a:off x="6675196" y="85844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59454" y="5089784"/>
        <a:ext cx="8735420" cy="288337"/>
      </dsp:txXfrm>
    </dsp:sp>
    <dsp:sp modelId="{F1826C26-2A9F-4828-9E74-097318C4E859}">
      <dsp:nvSpPr>
        <dsp:cNvPr id="0" name=""/>
        <dsp:cNvSpPr/>
      </dsp:nvSpPr>
      <dsp:spPr>
        <a:xfrm>
          <a:off x="445367" y="5034244"/>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64865" y="5053742"/>
        <a:ext cx="1975091" cy="3604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3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8"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458500" y="2441123"/>
              <a:ext cx="3404485" cy="3133952"/>
              <a:chOff x="7713850" y="2399956"/>
              <a:chExt cx="3920097" cy="3429000"/>
            </a:xfrm>
          </p:grpSpPr>
          <p:sp>
            <p:nvSpPr>
              <p:cNvPr id="174" name="Rectangle 23"/>
              <p:cNvSpPr>
                <a:spLocks noChangeArrowheads="1"/>
              </p:cNvSpPr>
              <p:nvPr/>
            </p:nvSpPr>
            <p:spPr bwMode="auto">
              <a:xfrm>
                <a:off x="7713850" y="2399956"/>
                <a:ext cx="3920097"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09567" y="413732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09567" y="496027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09567" y="2491424"/>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09567" y="3314375"/>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613373" y="2516840"/>
              <a:ext cx="3223735" cy="2966783"/>
              <a:chOff x="830514" y="2491424"/>
              <a:chExt cx="3711974" cy="3246093"/>
            </a:xfrm>
          </p:grpSpPr>
          <p:sp>
            <p:nvSpPr>
              <p:cNvPr id="193" name="Rectangle 192"/>
              <p:cNvSpPr/>
              <p:nvPr/>
            </p:nvSpPr>
            <p:spPr bwMode="auto">
              <a:xfrm>
                <a:off x="830514" y="4137326"/>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830515" y="4960277"/>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830515" y="2491424"/>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kern="0" dirty="0">
                    <a:gradFill>
                      <a:gsLst>
                        <a:gs pos="0">
                          <a:srgbClr val="505050"/>
                        </a:gs>
                        <a:gs pos="100000">
                          <a:srgbClr val="505050"/>
                        </a:gs>
                      </a:gsLst>
                      <a:lin ang="5400000" scaled="0"/>
                    </a:gradFill>
                    <a:ea typeface="Segoe UI" pitchFamily="34" charset="0"/>
                    <a:cs typeface="Segoe UI" pitchFamily="34" charset="0"/>
                  </a:rPr>
                </a:br>
                <a:r>
                  <a:rPr lang="en-US"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830515" y="3314375"/>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7674152" y="3619611"/>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4065794" y="370958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par>
                          <p:cTn id="37" fill="hold">
                            <p:stCondLst>
                              <p:cond delay="3330"/>
                            </p:stCondLst>
                            <p:childTnLst>
                              <p:par>
                                <p:cTn id="38" presetID="2" presetClass="entr" presetSubtype="8" decel="10000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750" fill="hold"/>
                                        <p:tgtEl>
                                          <p:spTgt spid="15"/>
                                        </p:tgtEl>
                                        <p:attrNameLst>
                                          <p:attrName>ppt_x</p:attrName>
                                        </p:attrNameLst>
                                      </p:cBhvr>
                                      <p:tavLst>
                                        <p:tav tm="0">
                                          <p:val>
                                            <p:strVal val="0-#ppt_w/2"/>
                                          </p:val>
                                        </p:tav>
                                        <p:tav tm="100000">
                                          <p:val>
                                            <p:strVal val="#ppt_x"/>
                                          </p:val>
                                        </p:tav>
                                      </p:tavLst>
                                    </p:anim>
                                    <p:anim calcmode="lin" valueType="num">
                                      <p:cBhvr additive="base">
                                        <p:cTn id="41" dur="750" fill="hold"/>
                                        <p:tgtEl>
                                          <p:spTgt spid="15"/>
                                        </p:tgtEl>
                                        <p:attrNameLst>
                                          <p:attrName>ppt_y</p:attrName>
                                        </p:attrNameLst>
                                      </p:cBhvr>
                                      <p:tavLst>
                                        <p:tav tm="0">
                                          <p:val>
                                            <p:strVal val="#ppt_y"/>
                                          </p:val>
                                        </p:tav>
                                        <p:tav tm="100000">
                                          <p:val>
                                            <p:strVal val="#ppt_y"/>
                                          </p:val>
                                        </p:tav>
                                      </p:tavLst>
                                    </p:anim>
                                  </p:childTnLst>
                                </p:cTn>
                              </p:par>
                            </p:childTnLst>
                          </p:cTn>
                        </p:par>
                        <p:par>
                          <p:cTn id="42" fill="hold">
                            <p:stCondLst>
                              <p:cond delay="4080"/>
                            </p:stCondLst>
                            <p:childTnLst>
                              <p:par>
                                <p:cTn id="43" presetID="10"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1536133401"/>
              </p:ext>
            </p:extLst>
          </p:nvPr>
        </p:nvGraphicFramePr>
        <p:xfrm>
          <a:off x="0" y="1266576"/>
          <a:ext cx="12031317" cy="54622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1677892104"/>
              </p:ext>
            </p:extLst>
          </p:nvPr>
        </p:nvGraphicFramePr>
        <p:xfrm>
          <a:off x="269239" y="1226819"/>
          <a:ext cx="11543417" cy="541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573264940"/>
              </p:ext>
            </p:extLst>
          </p:nvPr>
        </p:nvGraphicFramePr>
        <p:xfrm>
          <a:off x="269240" y="1189175"/>
          <a:ext cx="11655840" cy="5400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1577817140"/>
              </p:ext>
            </p:extLst>
          </p:nvPr>
        </p:nvGraphicFramePr>
        <p:xfrm>
          <a:off x="269240" y="1189176"/>
          <a:ext cx="11655840" cy="5435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105</TotalTime>
  <Words>377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5</cp:revision>
  <dcterms:created xsi:type="dcterms:W3CDTF">2016-09-29T12:20:34Z</dcterms:created>
  <dcterms:modified xsi:type="dcterms:W3CDTF">2016-11-14T09:39:28Z</dcterms:modified>
</cp:coreProperties>
</file>